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94" r:id="rId2"/>
    <p:sldId id="306" r:id="rId3"/>
    <p:sldId id="321" r:id="rId4"/>
    <p:sldId id="322" r:id="rId5"/>
    <p:sldId id="307" r:id="rId6"/>
    <p:sldId id="309" r:id="rId7"/>
    <p:sldId id="308" r:id="rId8"/>
    <p:sldId id="310" r:id="rId9"/>
    <p:sldId id="311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153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3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3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3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3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23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кар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.В.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766358" y="3257781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_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663256" y="-455316"/>
            <a:ext cx="5625392" cy="7957208"/>
          </a:xfrm>
          <a:prstGeom prst="rect">
            <a:avLst/>
          </a:prstGeom>
        </p:spPr>
      </p:pic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369047"/>
            <a:ext cx="8229600" cy="4525963"/>
          </a:xfrm>
        </p:spPr>
        <p:txBody>
          <a:bodyPr>
            <a:normAutofit fontScale="92500" lnSpcReduction="10000"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арина Владимировна, заведующий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: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зуро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лена Фёдоровна, старший воспитатель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влова Татьяна Николаевна, заместитель заведующего по АХР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истанов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ветлана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тальевна, музыкальный руководитель</a:t>
            </a: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истёлка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льга Николаевна, воспитатель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демидько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ксана Александровна, председатель Совета родителей(законных представителей) ДОУ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11146739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704" y="953945"/>
            <a:ext cx="5941347" cy="51613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5435" y="1340768"/>
            <a:ext cx="3602696" cy="455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03514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28829" y="20467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4" y="645612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60 мин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260004"/>
              </p:ext>
            </p:extLst>
          </p:nvPr>
        </p:nvGraphicFramePr>
        <p:xfrm>
          <a:off x="431589" y="2491033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поручения о размещении информации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мин.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441889"/>
              </p:ext>
            </p:extLst>
          </p:nvPr>
        </p:nvGraphicFramePr>
        <p:xfrm>
          <a:off x="3746687" y="4486772"/>
          <a:ext cx="4978605" cy="187283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978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Временны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и лишние перемещения старшего воспитателя при оповещении педагогических работников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администратора на ожидание информации от педагогов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Перепроизводство (избыточность) разно-стилевое оформление представляемых материалов педагогами. 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на процесс публикации информации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06772" y="2450229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97663" y="4439115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664786" y="4154113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59491" y="18850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320881" y="190228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0476" y="19367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436479" y="747095"/>
            <a:ext cx="825177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510195"/>
              </p:ext>
            </p:extLst>
          </p:nvPr>
        </p:nvGraphicFramePr>
        <p:xfrm>
          <a:off x="2650083" y="251840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915867"/>
              </p:ext>
            </p:extLst>
          </p:nvPr>
        </p:nvGraphicFramePr>
        <p:xfrm>
          <a:off x="4859338" y="2539810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старшему воспитателю на проверку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665887"/>
              </p:ext>
            </p:extLst>
          </p:nvPr>
        </p:nvGraphicFramePr>
        <p:xfrm>
          <a:off x="7150677" y="2522058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администратору сайта и сообщества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608447"/>
              </p:ext>
            </p:extLst>
          </p:nvPr>
        </p:nvGraphicFramePr>
        <p:xfrm>
          <a:off x="792312" y="465568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убликация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07202" y="204674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37801" y="20184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11037" y="19669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250297" y="421642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472126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55784" y="290424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225454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229587" y="5006593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ятно 1 60"/>
          <p:cNvSpPr/>
          <p:nvPr/>
        </p:nvSpPr>
        <p:spPr>
          <a:xfrm>
            <a:off x="106772" y="4192909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55275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4381128"/>
              </p:ext>
            </p:extLst>
          </p:nvPr>
        </p:nvGraphicFramePr>
        <p:xfrm>
          <a:off x="123845" y="1024381"/>
          <a:ext cx="8833888" cy="59135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3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6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894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4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Временные</a:t>
                      </a:r>
                      <a:r>
                        <a:rPr lang="ru-RU" alt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и лишние перемещения старшего воспитателя при оповещении педагогических работников.</a:t>
                      </a:r>
                      <a:endParaRPr lang="ru-RU" alt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ыделенного канала передачи информации, посредством сети интернет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канала передачи в сети интернет, посредством создания группы в ВК мессенджере(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ерум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группы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Учительская»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1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ин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 администратора на ожидание информации от педагогов.</a:t>
                      </a:r>
                      <a:endParaRPr lang="ru-RU" alt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.</a:t>
                      </a:r>
                    </a:p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 информации старшему воспитателю на проверку.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оставления информации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0 </a:t>
                      </a: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– 20 мин.</a:t>
                      </a: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производство (избыточность) разно-стилевое оформление представляемых материалов педагогами.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быточность текста, фото и видео-материал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-1 мин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на процесс публикации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загрузки «тяжёлых» файлов, большого количества файл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30070" y="524614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29" y="33705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17133" y="66112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74249162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03663" y="1396386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36830" y="2618192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24437" y="3784394"/>
            <a:ext cx="4196035" cy="222668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и лишние перемещения старшего воспитателя при оповещении педагогических работников.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администратора на ожидание информации от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дагогов.</a:t>
            </a:r>
            <a:endParaRPr lang="ru-RU" alt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производство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избыточность) разно-стилевое оформление представляемых материалов педагогами. </a:t>
            </a:r>
            <a:endParaRPr lang="ru-RU" alt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траты на процесс публикации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формации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645875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0890" y="6069520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мин. 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397795" y="412936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29854" y="822551"/>
            <a:ext cx="8893621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>
            <a:off x="5807015" y="285656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428037" y="2794761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933468" y="19899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007292" y="19667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22946" y="39856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5222178" y="2096997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5725026" y="2361008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8273326" y="2287491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4895129" y="3941657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692204"/>
              </p:ext>
            </p:extLst>
          </p:nvPr>
        </p:nvGraphicFramePr>
        <p:xfrm>
          <a:off x="4090181" y="4360589"/>
          <a:ext cx="4859729" cy="13715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ставления информационных материалов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чек-листа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 подготовке к публикации информ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ование канала передачи информации по средствам сети интернет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стандарта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цесса публикации информационных материалов об образовательных событиях в сети «Интернет»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88245" y="4008059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097842"/>
              </p:ext>
            </p:extLst>
          </p:nvPr>
        </p:nvGraphicFramePr>
        <p:xfrm>
          <a:off x="515888" y="2445834"/>
          <a:ext cx="1751856" cy="144813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поручения о размещении информации 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330383"/>
              </p:ext>
            </p:extLst>
          </p:nvPr>
        </p:nvGraphicFramePr>
        <p:xfrm>
          <a:off x="2937377" y="2450628"/>
          <a:ext cx="2515655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15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218314"/>
              </p:ext>
            </p:extLst>
          </p:nvPr>
        </p:nvGraphicFramePr>
        <p:xfrm>
          <a:off x="6452833" y="2510706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администратору сайта и сообщества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399188"/>
              </p:ext>
            </p:extLst>
          </p:nvPr>
        </p:nvGraphicFramePr>
        <p:xfrm>
          <a:off x="468487" y="4438812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убликация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Облако 29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2529381" y="2373206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33" name="Облако 3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029330" y="2118181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34" name="Облако 33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101931" y="4379574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5210065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55360"/>
              </p:ext>
            </p:extLst>
          </p:nvPr>
        </p:nvGraphicFramePr>
        <p:xfrm>
          <a:off x="143319" y="1089185"/>
          <a:ext cx="8831416" cy="5740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17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91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9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760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ветственный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и лишние перемещения старшего воспитателя при оповещении педагогических работников.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оставления информационных материалов  об образовательных событиях для публик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сайте, в социальных сетях.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.04.2025г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администратора на ожидание информации от педагог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ование канала передачи информации по электронным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едствам связи, рассылка по нему-плана-графика и получение по нему информационных материалов от педагогов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льный руководи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стан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.В. (администратор сайта и социальных групп)</a:t>
                      </a: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.04.2025г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производство (избыточность) разно-стилевое оформление представляемых материалов педагогами.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чек-листа по подготовке к публикации информационных материалов для педагогов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истёлк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Н.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20.04.2025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Временные затраты на процесс публикации информации.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defRPr/>
                      </a:pPr>
                      <a:endParaRPr lang="ru-RU" alt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 об образовательных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ытиях в сети «Интернет»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льный руководи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стан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.В. (администратор сайта и социальных групп)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9607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655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597656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3</TotalTime>
  <Words>842</Words>
  <Application>Microsoft Office PowerPoint</Application>
  <PresentationFormat>Экран (4:3)</PresentationFormat>
  <Paragraphs>177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Calibri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стасия Прудникова</cp:lastModifiedBy>
  <cp:revision>178</cp:revision>
  <cp:lastPrinted>2019-04-25T09:14:46Z</cp:lastPrinted>
  <dcterms:created xsi:type="dcterms:W3CDTF">2018-08-20T14:01:12Z</dcterms:created>
  <dcterms:modified xsi:type="dcterms:W3CDTF">2025-05-13T06:19:58Z</dcterms:modified>
</cp:coreProperties>
</file>